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7"/>
  </p:sldMasterIdLst>
  <p:notesMasterIdLst>
    <p:notesMasterId r:id="rId32"/>
  </p:notesMasterIdLst>
  <p:handoutMasterIdLst>
    <p:handoutMasterId r:id="rId33"/>
  </p:handoutMasterIdLst>
  <p:sldIdLst>
    <p:sldId id="868" r:id="rId8"/>
    <p:sldId id="908" r:id="rId9"/>
    <p:sldId id="909" r:id="rId10"/>
    <p:sldId id="1028" r:id="rId11"/>
    <p:sldId id="1029" r:id="rId12"/>
    <p:sldId id="871" r:id="rId13"/>
    <p:sldId id="913" r:id="rId14"/>
    <p:sldId id="910" r:id="rId15"/>
    <p:sldId id="873" r:id="rId16"/>
    <p:sldId id="1030" r:id="rId17"/>
    <p:sldId id="1031" r:id="rId18"/>
    <p:sldId id="1032" r:id="rId19"/>
    <p:sldId id="1033" r:id="rId20"/>
    <p:sldId id="1034" r:id="rId21"/>
    <p:sldId id="1035" r:id="rId22"/>
    <p:sldId id="1036" r:id="rId23"/>
    <p:sldId id="1037" r:id="rId24"/>
    <p:sldId id="1043" r:id="rId25"/>
    <p:sldId id="1039" r:id="rId26"/>
    <p:sldId id="1038" r:id="rId27"/>
    <p:sldId id="1040" r:id="rId28"/>
    <p:sldId id="1005" r:id="rId29"/>
    <p:sldId id="1041" r:id="rId30"/>
    <p:sldId id="1042" r:id="rId31"/>
  </p:sldIdLst>
  <p:sldSz cx="9601200" cy="6858000"/>
  <p:notesSz cx="6805613" cy="99441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">
          <p15:clr>
            <a:srgbClr val="A4A3A4"/>
          </p15:clr>
        </p15:guide>
        <p15:guide id="2" orient="horz" pos="882">
          <p15:clr>
            <a:srgbClr val="A4A3A4"/>
          </p15:clr>
        </p15:guide>
        <p15:guide id="3" orient="horz" pos="3992">
          <p15:clr>
            <a:srgbClr val="A4A3A4"/>
          </p15:clr>
        </p15:guide>
        <p15:guide id="4" pos="288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9" userDrawn="1">
          <p15:clr>
            <a:srgbClr val="A4A3A4"/>
          </p15:clr>
        </p15:guide>
        <p15:guide id="2" orient="horz" pos="2983" userDrawn="1">
          <p15:clr>
            <a:srgbClr val="A4A3A4"/>
          </p15:clr>
        </p15:guide>
        <p15:guide id="3" pos="429" userDrawn="1">
          <p15:clr>
            <a:srgbClr val="A4A3A4"/>
          </p15:clr>
        </p15:guide>
        <p15:guide id="4" pos="387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res, Edward" initials="E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706D"/>
    <a:srgbClr val="BDDDA3"/>
    <a:srgbClr val="60606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63" autoAdjust="0"/>
    <p:restoredTop sz="94764" autoAdjust="0"/>
  </p:normalViewPr>
  <p:slideViewPr>
    <p:cSldViewPr snapToGrid="0" showGuides="1">
      <p:cViewPr varScale="1">
        <p:scale>
          <a:sx n="93" d="100"/>
          <a:sy n="93" d="100"/>
        </p:scale>
        <p:origin x="984" y="57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1" d="100"/>
          <a:sy n="61" d="100"/>
        </p:scale>
        <p:origin x="2691" y="54"/>
      </p:cViewPr>
      <p:guideLst>
        <p:guide orient="horz" pos="5809"/>
        <p:guide orient="horz" pos="2983"/>
        <p:guide pos="429"/>
        <p:guide pos="38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gs" Target="tags/tag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/>
            </a:lvl1pPr>
          </a:lstStyle>
          <a:p>
            <a:fld id="{BA3551F4-B388-414C-93DE-355D7B348288}" type="slidenum">
              <a:rPr lang="en-GB" smtClean="0">
                <a:solidFill>
                  <a:schemeClr val="accent3"/>
                </a:solidFill>
              </a:rPr>
              <a:t>‹#›</a:t>
            </a:fld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6125"/>
            <a:ext cx="52212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2" tIns="46682" rIns="93362" bIns="466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en-GB" dirty="0"/>
              <a:t>Click to edit Master text styles</a:t>
            </a:r>
          </a:p>
          <a:p>
            <a:pPr lvl="1" indent="-233406">
              <a:spcAft>
                <a:spcPts val="612"/>
              </a:spcAft>
              <a:buFont typeface="Arial" charset="0"/>
              <a:buChar char="–"/>
            </a:pPr>
            <a:r>
              <a:rPr lang="en-GB" dirty="0"/>
              <a:t>2nd level</a:t>
            </a:r>
          </a:p>
          <a:p>
            <a:pPr marL="700216" lvl="2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3rd level</a:t>
            </a:r>
          </a:p>
          <a:p>
            <a:pPr marL="933621" lvl="3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4th level</a:t>
            </a:r>
          </a:p>
          <a:p>
            <a:pPr marL="1167027" lvl="4" indent="-233406">
              <a:spcAft>
                <a:spcPts val="612"/>
              </a:spcAft>
              <a:buFont typeface="Arial" panose="020B0604020202020204" pitchFamily="34" charset="0"/>
              <a:buChar char="-"/>
            </a:pPr>
            <a:r>
              <a:rPr lang="en-GB" dirty="0"/>
              <a:t>5th level</a:t>
            </a:r>
          </a:p>
          <a:p>
            <a:pPr marL="1400431" lvl="5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6th level</a:t>
            </a:r>
          </a:p>
          <a:p>
            <a:pPr marL="1633837" lvl="6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7th level</a:t>
            </a:r>
          </a:p>
          <a:p>
            <a:pPr marL="1867241" lvl="7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8th level</a:t>
            </a:r>
          </a:p>
          <a:p>
            <a:pPr marL="2100648" lvl="8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9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0828" indent="-220828" algn="l" defTabSz="914400" rtl="0" eaLnBrk="1" latinLnBrk="0" hangingPunct="1">
      <a:spcBef>
        <a:spcPct val="60000"/>
      </a:spcBef>
      <a:spcAft>
        <a:spcPts val="580"/>
      </a:spcAft>
      <a:buFontTx/>
      <a:buChar char="•"/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38225" y="3924300"/>
            <a:ext cx="6562725" cy="10572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04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7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62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84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672ECA6-EAD2-49B5-8EB1-46119707712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1335046"/>
            <a:ext cx="753620" cy="753617"/>
          </a:xfrm>
          <a:prstGeom prst="ellipse">
            <a:avLst/>
          </a:prstGeom>
          <a:solidFill>
            <a:srgbClr val="067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320EA4-1B52-49B9-A2FB-551947637B44}"/>
              </a:ext>
            </a:extLst>
          </p:cNvPr>
          <p:cNvSpPr>
            <a:spLocks noChangeAspect="1"/>
          </p:cNvSpPr>
          <p:nvPr userDrawn="1"/>
        </p:nvSpPr>
        <p:spPr>
          <a:xfrm>
            <a:off x="3406140" y="1335046"/>
            <a:ext cx="753620" cy="7536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AU" sz="3200" b="1" dirty="0">
                <a:solidFill>
                  <a:srgbClr val="FFFFFF"/>
                </a:solidFill>
                <a:latin typeface="+mj-lt"/>
              </a:rPr>
              <a:t>2</a:t>
            </a:r>
            <a:endParaRPr lang="en-US" sz="3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69C3FD-BBD8-4EA9-B784-3A3D8E7B1BF7}"/>
              </a:ext>
            </a:extLst>
          </p:cNvPr>
          <p:cNvSpPr>
            <a:spLocks noChangeAspect="1"/>
          </p:cNvSpPr>
          <p:nvPr userDrawn="1"/>
        </p:nvSpPr>
        <p:spPr>
          <a:xfrm>
            <a:off x="6355080" y="1335046"/>
            <a:ext cx="753620" cy="7536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901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ounded Rectangle 2"/>
          <p:cNvSpPr/>
          <p:nvPr userDrawn="1"/>
        </p:nvSpPr>
        <p:spPr>
          <a:xfrm>
            <a:off x="552449" y="1714893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4896644" y="1714892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>
            <a:off x="540842" y="3930779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4885037" y="3930778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8650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89852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8650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245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78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 userDrawn="1"/>
        </p:nvSpPr>
        <p:spPr bwMode="auto">
          <a:xfrm>
            <a:off x="3447743" y="1619097"/>
            <a:ext cx="2528919" cy="2528919"/>
          </a:xfrm>
          <a:prstGeom prst="roundRect">
            <a:avLst>
              <a:gd name="adj" fmla="val 16667"/>
            </a:avLst>
          </a:prstGeom>
          <a:solidFill>
            <a:srgbClr val="06706D"/>
          </a:solidFill>
          <a:ln w="539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GB" sz="1200">
              <a:latin typeface="Arial" pitchFamily="34" charset="0"/>
            </a:endParaRPr>
          </a:p>
        </p:txBody>
      </p:sp>
      <p:sp>
        <p:nvSpPr>
          <p:cNvPr id="5" name="Oval 6"/>
          <p:cNvSpPr/>
          <p:nvPr userDrawn="1"/>
        </p:nvSpPr>
        <p:spPr>
          <a:xfrm>
            <a:off x="3837662" y="2009016"/>
            <a:ext cx="1749078" cy="1749078"/>
          </a:xfrm>
          <a:custGeom>
            <a:avLst/>
            <a:gdLst/>
            <a:ahLst/>
            <a:cxnLst/>
            <a:rect l="l" t="t" r="r" b="b"/>
            <a:pathLst>
              <a:path w="583026" h="583026">
                <a:moveTo>
                  <a:pt x="195846" y="177249"/>
                </a:moveTo>
                <a:cubicBezTo>
                  <a:pt x="199456" y="173622"/>
                  <a:pt x="206676" y="173622"/>
                  <a:pt x="210287" y="177249"/>
                </a:cubicBezTo>
                <a:cubicBezTo>
                  <a:pt x="210287" y="177249"/>
                  <a:pt x="210287" y="177249"/>
                  <a:pt x="387180" y="278817"/>
                </a:cubicBezTo>
                <a:cubicBezTo>
                  <a:pt x="390790" y="282445"/>
                  <a:pt x="394400" y="286072"/>
                  <a:pt x="394400" y="289699"/>
                </a:cubicBezTo>
                <a:cubicBezTo>
                  <a:pt x="394400" y="296954"/>
                  <a:pt x="390790" y="300582"/>
                  <a:pt x="387180" y="304209"/>
                </a:cubicBezTo>
                <a:cubicBezTo>
                  <a:pt x="387180" y="304209"/>
                  <a:pt x="387180" y="304209"/>
                  <a:pt x="210287" y="405777"/>
                </a:cubicBezTo>
                <a:lnTo>
                  <a:pt x="203066" y="409404"/>
                </a:lnTo>
                <a:lnTo>
                  <a:pt x="195846" y="405777"/>
                </a:lnTo>
                <a:cubicBezTo>
                  <a:pt x="192236" y="402149"/>
                  <a:pt x="188626" y="398522"/>
                  <a:pt x="188626" y="394894"/>
                </a:cubicBezTo>
                <a:cubicBezTo>
                  <a:pt x="188626" y="394894"/>
                  <a:pt x="188626" y="394894"/>
                  <a:pt x="188626" y="188132"/>
                </a:cubicBezTo>
                <a:cubicBezTo>
                  <a:pt x="188626" y="184504"/>
                  <a:pt x="192236" y="180877"/>
                  <a:pt x="195846" y="177249"/>
                </a:cubicBezTo>
                <a:close/>
                <a:moveTo>
                  <a:pt x="291513" y="49197"/>
                </a:moveTo>
                <a:cubicBezTo>
                  <a:pt x="157686" y="49197"/>
                  <a:pt x="49197" y="157686"/>
                  <a:pt x="49197" y="291513"/>
                </a:cubicBezTo>
                <a:cubicBezTo>
                  <a:pt x="49197" y="425340"/>
                  <a:pt x="157686" y="533829"/>
                  <a:pt x="291513" y="533829"/>
                </a:cubicBezTo>
                <a:cubicBezTo>
                  <a:pt x="425340" y="533829"/>
                  <a:pt x="533829" y="425340"/>
                  <a:pt x="533829" y="291513"/>
                </a:cubicBezTo>
                <a:cubicBezTo>
                  <a:pt x="533829" y="157686"/>
                  <a:pt x="425340" y="49197"/>
                  <a:pt x="291513" y="49197"/>
                </a:cubicBezTo>
                <a:close/>
                <a:moveTo>
                  <a:pt x="291513" y="0"/>
                </a:moveTo>
                <a:cubicBezTo>
                  <a:pt x="452511" y="0"/>
                  <a:pt x="583026" y="130515"/>
                  <a:pt x="583026" y="291513"/>
                </a:cubicBezTo>
                <a:cubicBezTo>
                  <a:pt x="583026" y="452511"/>
                  <a:pt x="452511" y="583026"/>
                  <a:pt x="291513" y="583026"/>
                </a:cubicBezTo>
                <a:cubicBezTo>
                  <a:pt x="130515" y="583026"/>
                  <a:pt x="0" y="452511"/>
                  <a:pt x="0" y="291513"/>
                </a:cubicBezTo>
                <a:cubicBezTo>
                  <a:pt x="0" y="130515"/>
                  <a:pt x="130515" y="0"/>
                  <a:pt x="291513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151909" y="4491319"/>
            <a:ext cx="3124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MONSTRATION</a:t>
            </a:r>
          </a:p>
        </p:txBody>
      </p:sp>
      <p:sp>
        <p:nvSpPr>
          <p:cNvPr id="7" name="DTP_Label|1"/>
          <p:cNvSpPr/>
          <p:nvPr userDrawn="1"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436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485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01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6055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0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37619" y="3819525"/>
            <a:ext cx="6124575" cy="10477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788281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899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04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54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2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207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8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7818120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0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7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4255217" y="5101220"/>
            <a:ext cx="1090766" cy="1041499"/>
            <a:chOff x="4276725" y="5101220"/>
            <a:chExt cx="1090766" cy="1041499"/>
          </a:xfrm>
        </p:grpSpPr>
        <p:pic>
          <p:nvPicPr>
            <p:cNvPr id="3" name="Picture 405" descr="C:\Users\Ben.Helps\Documents\BGH at MOW\BGH projects\current\HPI 143-01 credit passport\D. Intellectual property\1. Logos\Factern\Factern Blue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091"/>
            <a:stretch/>
          </p:blipFill>
          <p:spPr bwMode="auto">
            <a:xfrm>
              <a:off x="4276725" y="5101220"/>
              <a:ext cx="1090766" cy="9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 userDrawn="1"/>
          </p:nvSpPr>
          <p:spPr>
            <a:xfrm>
              <a:off x="4414945" y="5973442"/>
              <a:ext cx="81432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>
                  <a:solidFill>
                    <a:schemeClr val="bg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F A C T E R 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284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5192" y="908650"/>
            <a:ext cx="8729285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 baseline="0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ome text in here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227681" y="6338812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300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412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5193" y="908650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853582" y="908668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163"/>
              </a:spcAft>
              <a:buNone/>
              <a:defRPr lang="en-US" sz="1066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marL="0" lvl="0" indent="0" algn="l" rtl="0" eaLnBrk="0" fontAlgn="base" hangingPunc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Font typeface="Symbol" pitchFamily="18" charset="2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00600" y="908664"/>
            <a:ext cx="0" cy="522069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227681" y="6337329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09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0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2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192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400" baseline="0"/>
            </a:lvl3pPr>
            <a:lvl4pPr marL="0" indent="0">
              <a:spcBef>
                <a:spcPts val="0"/>
              </a:spcBef>
              <a:buNone/>
              <a:defRPr sz="1400" baseline="0"/>
            </a:lvl4pPr>
            <a:lvl5pPr marL="0" indent="0">
              <a:spcBef>
                <a:spcPts val="0"/>
              </a:spcBef>
              <a:buNone/>
              <a:defRPr sz="1400" baseline="0"/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370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00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572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46" y="2934392"/>
            <a:ext cx="6106679" cy="1007181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section title</a:t>
            </a:r>
            <a:endParaRPr lang="pl-PL" dirty="0"/>
          </a:p>
          <a:p>
            <a:pPr lvl="1"/>
            <a:r>
              <a:rPr lang="en-US" noProof="0" dirty="0"/>
              <a:t>Click to add section subtitle</a:t>
            </a:r>
            <a:endParaRPr lang="pl-PL" noProof="0" dirty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00" y="2934393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77111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11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7659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6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en-GB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en-GB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TP_Label|1"/>
          <p:cNvSpPr/>
          <p:nvPr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4" r:id="rId2"/>
    <p:sldLayoutId id="2147483651" r:id="rId3"/>
    <p:sldLayoutId id="2147483668" r:id="rId4"/>
    <p:sldLayoutId id="2147483667" r:id="rId5"/>
    <p:sldLayoutId id="2147483666" r:id="rId6"/>
    <p:sldLayoutId id="2147483665" r:id="rId7"/>
    <p:sldLayoutId id="2147483673" r:id="rId8"/>
    <p:sldLayoutId id="2147483663" r:id="rId9"/>
    <p:sldLayoutId id="2147483662" r:id="rId10"/>
    <p:sldLayoutId id="2147483664" r:id="rId11"/>
    <p:sldLayoutId id="2147483683" r:id="rId12"/>
    <p:sldLayoutId id="2147483685" r:id="rId13"/>
    <p:sldLayoutId id="2147483688" r:id="rId14"/>
    <p:sldLayoutId id="2147483687" r:id="rId15"/>
    <p:sldLayoutId id="2147483659" r:id="rId16"/>
    <p:sldLayoutId id="2147483658" r:id="rId17"/>
    <p:sldLayoutId id="2147483661" r:id="rId18"/>
    <p:sldLayoutId id="2147483656" r:id="rId19"/>
    <p:sldLayoutId id="2147483660" r:id="rId20"/>
    <p:sldLayoutId id="2147483682" r:id="rId21"/>
    <p:sldLayoutId id="2147483653" r:id="rId22"/>
    <p:sldLayoutId id="2147483654" r:id="rId23"/>
    <p:sldLayoutId id="2147483669" r:id="rId24"/>
    <p:sldLayoutId id="2147483670" r:id="rId25"/>
    <p:sldLayoutId id="2147483675" r:id="rId26"/>
    <p:sldLayoutId id="2147483672" r:id="rId27"/>
    <p:sldLayoutId id="2147483681" r:id="rId28"/>
    <p:sldLayoutId id="2147483690" r:id="rId29"/>
    <p:sldLayoutId id="2147483691" r:id="rId3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5661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3949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237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11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7899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187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475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8488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identityexchange.org/blog/2019/11/14/building-a-trusted-environment-event-based-attribute-assurance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E93EE-71C8-4B5A-B928-961EF2C07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000" dirty="0"/>
              <a:t>EVENT-BASED DATA ASSURANCE</a:t>
            </a:r>
          </a:p>
          <a:p>
            <a:r>
              <a:rPr lang="en-GB" sz="1600" dirty="0"/>
              <a:t>WORKSHOP #5: ONTOLOGY (4)</a:t>
            </a:r>
          </a:p>
          <a:p>
            <a:r>
              <a:rPr lang="en-GB" sz="1200" dirty="0"/>
              <a:t>4</a:t>
            </a:r>
            <a:r>
              <a:rPr lang="en-GB" sz="1200" baseline="30000" dirty="0"/>
              <a:t>th</a:t>
            </a:r>
            <a:r>
              <a:rPr lang="en-GB" sz="1200" dirty="0"/>
              <a:t> March 2020</a:t>
            </a:r>
          </a:p>
        </p:txBody>
      </p:sp>
    </p:spTree>
    <p:extLst>
      <p:ext uri="{BB962C8B-B14F-4D97-AF65-F5344CB8AC3E}">
        <p14:creationId xmlns:p14="http://schemas.microsoft.com/office/powerpoint/2010/main" val="278707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A2BBD1-5EAC-42D4-95E4-280979D8FA6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Events are separated into two constituent parts:</a:t>
            </a:r>
          </a:p>
          <a:p>
            <a:pPr lvl="1"/>
            <a:r>
              <a:rPr lang="en-GB" sz="1800" b="1" dirty="0"/>
              <a:t>Body:</a:t>
            </a:r>
            <a:r>
              <a:rPr lang="en-GB" sz="1800" dirty="0"/>
              <a:t> the content of the assertion (i.e. what is being asserted)</a:t>
            </a:r>
          </a:p>
          <a:p>
            <a:pPr lvl="1"/>
            <a:r>
              <a:rPr lang="en-GB" sz="1800" b="1" dirty="0"/>
              <a:t>Header:</a:t>
            </a:r>
            <a:r>
              <a:rPr lang="en-GB" sz="1800" dirty="0"/>
              <a:t> the context of the assertion (e.g. who / how / when the assertion is made)</a:t>
            </a:r>
          </a:p>
          <a:p>
            <a:endParaRPr lang="en-GB" sz="1800" dirty="0"/>
          </a:p>
          <a:p>
            <a:r>
              <a:rPr lang="en-GB" sz="1800" dirty="0"/>
              <a:t>The body of each OEF event must comprise of an RDF triple:</a:t>
            </a:r>
          </a:p>
          <a:p>
            <a:pPr lvl="1"/>
            <a:r>
              <a:rPr lang="en-GB" sz="1800" b="1" dirty="0"/>
              <a:t>Subject:</a:t>
            </a:r>
            <a:r>
              <a:rPr lang="en-GB" sz="1800" dirty="0"/>
              <a:t> the entity that the assertion is about</a:t>
            </a:r>
          </a:p>
          <a:p>
            <a:pPr lvl="1"/>
            <a:r>
              <a:rPr lang="en-GB" sz="1800" b="1" dirty="0"/>
              <a:t>Predicate:</a:t>
            </a:r>
            <a:r>
              <a:rPr lang="en-GB" sz="1800" dirty="0"/>
              <a:t> the property of the subject that is being asserted</a:t>
            </a:r>
          </a:p>
          <a:p>
            <a:pPr lvl="1"/>
            <a:r>
              <a:rPr lang="en-GB" sz="1800" b="1" dirty="0"/>
              <a:t>Object:</a:t>
            </a:r>
            <a:r>
              <a:rPr lang="en-GB" sz="1800" dirty="0"/>
              <a:t> the property value (or related entity) being asserted</a:t>
            </a:r>
          </a:p>
          <a:p>
            <a:endParaRPr lang="en-GB" sz="1800" dirty="0"/>
          </a:p>
          <a:p>
            <a:r>
              <a:rPr lang="en-GB" sz="1800" dirty="0"/>
              <a:t>The header of each OEF event must contain at least the following elements:</a:t>
            </a:r>
          </a:p>
          <a:p>
            <a:pPr lvl="1"/>
            <a:r>
              <a:rPr lang="en-GB" sz="1800" b="1" dirty="0"/>
              <a:t>UUID:</a:t>
            </a:r>
            <a:r>
              <a:rPr lang="en-GB" sz="1800" dirty="0"/>
              <a:t> the way to identify one assertion from all others</a:t>
            </a:r>
          </a:p>
          <a:p>
            <a:pPr lvl="1"/>
            <a:r>
              <a:rPr lang="en-GB" sz="1800" b="1" dirty="0"/>
              <a:t>Timestamp:</a:t>
            </a:r>
            <a:r>
              <a:rPr lang="en-GB" sz="1800" dirty="0"/>
              <a:t> the time/date at which the assertion was made</a:t>
            </a:r>
          </a:p>
          <a:p>
            <a:pPr lvl="1"/>
            <a:r>
              <a:rPr lang="en-GB" sz="1800" b="1" dirty="0"/>
              <a:t>Provenance: </a:t>
            </a:r>
            <a:r>
              <a:rPr lang="en-GB" sz="1800" dirty="0"/>
              <a:t>including participant (legal entity), system/pipeline of origin</a:t>
            </a:r>
          </a:p>
          <a:p>
            <a:pPr lvl="1"/>
            <a:r>
              <a:rPr lang="en-GB" sz="1800" b="1" dirty="0"/>
              <a:t>Expert System: </a:t>
            </a:r>
            <a:r>
              <a:rPr lang="en-GB" sz="1800" dirty="0"/>
              <a:t>the system entity acting on behalf of the Ecosystem Participa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5EB7A8-31D9-4D2E-AB61-17173788F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How does the OEF specify an “Event”?</a:t>
            </a:r>
          </a:p>
        </p:txBody>
      </p:sp>
    </p:spTree>
    <p:extLst>
      <p:ext uri="{BB962C8B-B14F-4D97-AF65-F5344CB8AC3E}">
        <p14:creationId xmlns:p14="http://schemas.microsoft.com/office/powerpoint/2010/main" val="3866401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2B83D02-EFA9-488E-A9D7-7CD3BE91EB3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b="1" dirty="0"/>
              <a:t>Skills:</a:t>
            </a:r>
            <a:r>
              <a:rPr lang="en-GB" sz="1800" dirty="0"/>
              <a:t> does the difficulty of modelling [in RDF] create a soft barrier to entry?</a:t>
            </a:r>
          </a:p>
          <a:p>
            <a:pPr lvl="1"/>
            <a:r>
              <a:rPr lang="en-GB" sz="1800" dirty="0"/>
              <a:t>“Trusted Service Provider” to support less capable entities</a:t>
            </a:r>
          </a:p>
          <a:p>
            <a:endParaRPr lang="en-GB" sz="1800" dirty="0"/>
          </a:p>
          <a:p>
            <a:r>
              <a:rPr lang="en-GB" sz="1800" b="1" dirty="0"/>
              <a:t>Prevalence:</a:t>
            </a:r>
            <a:r>
              <a:rPr lang="en-GB" sz="1800" dirty="0"/>
              <a:t> are [the Semantic Web] standards too academic (i.e. not used)?</a:t>
            </a:r>
          </a:p>
          <a:p>
            <a:pPr lvl="1"/>
            <a:r>
              <a:rPr lang="en-GB" sz="1800" dirty="0"/>
              <a:t>(Re)emergence of standards as counter to anti-competitive platform dominance</a:t>
            </a:r>
          </a:p>
          <a:p>
            <a:endParaRPr lang="en-GB" sz="1800" dirty="0"/>
          </a:p>
          <a:p>
            <a:r>
              <a:rPr lang="en-GB" sz="1800" b="1" dirty="0"/>
              <a:t>Ability to scale:</a:t>
            </a:r>
            <a:r>
              <a:rPr lang="en-GB" sz="1800" dirty="0"/>
              <a:t> does the amount of information involved affect performance?</a:t>
            </a:r>
          </a:p>
          <a:p>
            <a:pPr lvl="1"/>
            <a:r>
              <a:rPr lang="en-GB" sz="1800" dirty="0"/>
              <a:t>Different implementations will adapt to address the issue</a:t>
            </a:r>
          </a:p>
          <a:p>
            <a:endParaRPr lang="en-GB" sz="1800" dirty="0"/>
          </a:p>
          <a:p>
            <a:r>
              <a:rPr lang="en-GB" sz="1800" b="1" dirty="0"/>
              <a:t>Value realisation:</a:t>
            </a:r>
            <a:r>
              <a:rPr lang="en-GB" sz="1800" dirty="0"/>
              <a:t> how to fund development of the ecosystem?</a:t>
            </a:r>
          </a:p>
          <a:p>
            <a:pPr lvl="1"/>
            <a:r>
              <a:rPr lang="en-GB" sz="1800" dirty="0"/>
              <a:t>Need for ‘value exchange’ mechanism to reflect ‘work done’</a:t>
            </a:r>
          </a:p>
          <a:p>
            <a:endParaRPr lang="en-GB" sz="1800" dirty="0"/>
          </a:p>
          <a:p>
            <a:r>
              <a:rPr lang="en-GB" sz="1800" b="1" dirty="0"/>
              <a:t>Security:</a:t>
            </a:r>
            <a:r>
              <a:rPr lang="en-GB" sz="1800" dirty="0"/>
              <a:t> does the creation of an OEF ecosystem increase / decrease cyber risk?</a:t>
            </a:r>
          </a:p>
          <a:p>
            <a:pPr lvl="1"/>
            <a:r>
              <a:rPr lang="en-GB" sz="1800" dirty="0"/>
              <a:t>This is a different layer, but some parties may have security concer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F7FB29-B33A-4E79-A392-22CACBF53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Some open questions (for discussion throughout the session)</a:t>
            </a:r>
          </a:p>
        </p:txBody>
      </p:sp>
    </p:spTree>
    <p:extLst>
      <p:ext uri="{BB962C8B-B14F-4D97-AF65-F5344CB8AC3E}">
        <p14:creationId xmlns:p14="http://schemas.microsoft.com/office/powerpoint/2010/main" val="1122985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1007181"/>
          </a:xfrm>
        </p:spPr>
        <p:txBody>
          <a:bodyPr/>
          <a:lstStyle/>
          <a:p>
            <a:r>
              <a:rPr lang="en-GB" dirty="0"/>
              <a:t>Ontology</a:t>
            </a:r>
          </a:p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hat does an OEF ecosystem “do”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4289442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E1C96F-1365-45EC-95BB-80E2FBD2AF9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b="1" dirty="0"/>
              <a:t>Assertions </a:t>
            </a:r>
            <a:r>
              <a:rPr lang="en-GB" sz="1600" dirty="0"/>
              <a:t>(ecosystem) – who has said what, when, where and to what level </a:t>
            </a:r>
            <a:r>
              <a:rPr lang="en-GB" sz="1600"/>
              <a:t>of assurance ?</a:t>
            </a:r>
            <a:endParaRPr lang="en-GB" sz="1600" dirty="0"/>
          </a:p>
          <a:p>
            <a:pPr lvl="1"/>
            <a:endParaRPr lang="en-GB" sz="1600" dirty="0"/>
          </a:p>
          <a:p>
            <a:r>
              <a:rPr lang="en-GB" sz="1600" b="1" dirty="0"/>
              <a:t>Instructive</a:t>
            </a:r>
            <a:r>
              <a:rPr lang="en-GB" sz="1600" dirty="0"/>
              <a:t> (ecosystem) – what are you allowed to do / obliged to do?</a:t>
            </a:r>
          </a:p>
          <a:p>
            <a:pPr lvl="1"/>
            <a:r>
              <a:rPr lang="en-GB" sz="1600" dirty="0" err="1"/>
              <a:t>Permissioning</a:t>
            </a:r>
            <a:r>
              <a:rPr lang="en-GB" sz="1600" dirty="0"/>
              <a:t> and access management</a:t>
            </a:r>
          </a:p>
          <a:p>
            <a:pPr lvl="1"/>
            <a:r>
              <a:rPr lang="en-GB" sz="1600" dirty="0"/>
              <a:t>Contracting, accounting and settlement</a:t>
            </a:r>
          </a:p>
          <a:p>
            <a:pPr lvl="1"/>
            <a:r>
              <a:rPr lang="en-GB" sz="1600" dirty="0"/>
              <a:t>Other workflows (e.g. notification), including acting “on behalf of” other actors</a:t>
            </a:r>
          </a:p>
          <a:p>
            <a:pPr lvl="1"/>
            <a:endParaRPr lang="en-GB" sz="1600" dirty="0"/>
          </a:p>
          <a:p>
            <a:r>
              <a:rPr lang="en-GB" sz="1600" b="1" dirty="0"/>
              <a:t>Temporal </a:t>
            </a:r>
            <a:r>
              <a:rPr lang="en-GB" sz="1600" dirty="0"/>
              <a:t>(ecosystem and use case specific) – what has happened over time?</a:t>
            </a:r>
          </a:p>
          <a:p>
            <a:pPr lvl="1"/>
            <a:r>
              <a:rPr lang="en-GB" sz="1600" dirty="0"/>
              <a:t>Data access events (ecosystem)</a:t>
            </a:r>
          </a:p>
          <a:p>
            <a:pPr lvl="1"/>
            <a:r>
              <a:rPr lang="en-GB" sz="1600" dirty="0"/>
              <a:t>Assurance events (use case specific and ecosystem)</a:t>
            </a:r>
          </a:p>
          <a:p>
            <a:pPr lvl="1"/>
            <a:r>
              <a:rPr lang="en-GB" sz="1600" dirty="0"/>
              <a:t>Journey events (use case specific)</a:t>
            </a:r>
          </a:p>
          <a:p>
            <a:pPr lvl="1"/>
            <a:endParaRPr lang="en-GB" sz="1600" dirty="0"/>
          </a:p>
          <a:p>
            <a:r>
              <a:rPr lang="en-GB" sz="1600" b="1" dirty="0"/>
              <a:t>Declarative </a:t>
            </a:r>
            <a:r>
              <a:rPr lang="en-GB" sz="1600" dirty="0"/>
              <a:t>(use case specific) – what things exist and how do they relate to each other?</a:t>
            </a:r>
          </a:p>
          <a:p>
            <a:pPr lvl="1"/>
            <a:r>
              <a:rPr lang="en-GB" sz="1600" dirty="0"/>
              <a:t>Entity graph: People and Things</a:t>
            </a:r>
          </a:p>
          <a:p>
            <a:pPr lvl="1"/>
            <a:r>
              <a:rPr lang="en-GB" sz="1600" dirty="0"/>
              <a:t>Information graph: scalar values and schemas used</a:t>
            </a:r>
          </a:p>
          <a:p>
            <a:pPr lvl="1"/>
            <a:r>
              <a:rPr lang="en-GB" sz="1600" dirty="0"/>
              <a:t>Note: this makes knowledge explicit and shareable -&gt; URIs vs. DID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94A57D-635E-487B-A36E-993A41B6D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knowledge do we want to represent?</a:t>
            </a:r>
            <a:br>
              <a:rPr lang="en-GB" sz="2400" dirty="0"/>
            </a:br>
            <a:r>
              <a:rPr lang="en-GB" sz="2400" i="1" dirty="0"/>
              <a:t>Across the </a:t>
            </a:r>
            <a:r>
              <a:rPr lang="en-GB" sz="2400" b="1" i="1" dirty="0"/>
              <a:t>ecosystem</a:t>
            </a:r>
            <a:endParaRPr lang="en-GB" b="1" i="1" dirty="0"/>
          </a:p>
        </p:txBody>
      </p:sp>
    </p:spTree>
    <p:extLst>
      <p:ext uri="{BB962C8B-B14F-4D97-AF65-F5344CB8AC3E}">
        <p14:creationId xmlns:p14="http://schemas.microsoft.com/office/powerpoint/2010/main" val="35878360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F9FA6D-90B2-4F4F-9530-62246B682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Illustrative Ecosystem Level 1 </a:t>
            </a: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stem Context Diagram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7CED48E-5A78-4D30-98BB-ABC994028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008" y="1343793"/>
            <a:ext cx="5777778" cy="513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435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FC8DCF-AAB1-4915-901B-DCC528588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Illustrative Ecosystem Level 1</a:t>
            </a: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tainer Diagram</a:t>
            </a:r>
            <a:endParaRPr lang="en-GB" sz="2400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AC2A3CE1-B804-4BDD-B807-BEF57C7F57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628" y="1216152"/>
            <a:ext cx="5809944" cy="541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0253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2DF98A-8666-47B0-B084-A6018862C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Illustrative Ecosystem Level 3</a:t>
            </a: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stem Context Diagram</a:t>
            </a:r>
            <a:endParaRPr lang="en-GB" sz="2400" dirty="0"/>
          </a:p>
        </p:txBody>
      </p:sp>
      <p:pic>
        <p:nvPicPr>
          <p:cNvPr id="5" name="Picture 4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0F58B025-59A4-4430-AE72-EB677DFB45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16" y="1343793"/>
            <a:ext cx="8253968" cy="513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6898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A5C8DA-4544-4109-A7FB-CBB34DDD9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Illustrative Ecosystem Level 3</a:t>
            </a: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tainer Diagram</a:t>
            </a:r>
            <a:endParaRPr lang="en-GB" sz="2400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744BFCD-46BA-4CE3-A72C-CBC2C1AA4B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16" y="1143000"/>
            <a:ext cx="9345168" cy="548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5411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2DF98A-8666-47B0-B084-A6018862C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Illustrative Ecosystem Level 4</a:t>
            </a: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stem Context Diagram</a:t>
            </a:r>
            <a:endParaRPr lang="en-GB" sz="2400" dirty="0"/>
          </a:p>
        </p:txBody>
      </p:sp>
      <p:pic>
        <p:nvPicPr>
          <p:cNvPr id="5" name="Picture 4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0F58B025-59A4-4430-AE72-EB677DFB45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16" y="1343793"/>
            <a:ext cx="8253968" cy="5130159"/>
          </a:xfrm>
          <a:prstGeom prst="rect">
            <a:avLst/>
          </a:prstGeom>
        </p:spPr>
      </p:pic>
      <p:pic>
        <p:nvPicPr>
          <p:cNvPr id="4" name="Graphic 3" descr="Suburban scene">
            <a:extLst>
              <a:ext uri="{FF2B5EF4-FFF2-40B4-BE49-F238E27FC236}">
                <a16:creationId xmlns:a16="http://schemas.microsoft.com/office/drawing/2014/main" id="{15F2AA04-6219-47D6-A596-7B36E64484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50608" y="1453896"/>
            <a:ext cx="914400" cy="914400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26FF154-0FA4-4979-8274-DC4FA5E99721}"/>
              </a:ext>
            </a:extLst>
          </p:cNvPr>
          <p:cNvCxnSpPr/>
          <p:nvPr/>
        </p:nvCxnSpPr>
        <p:spPr>
          <a:xfrm>
            <a:off x="3246120" y="1911096"/>
            <a:ext cx="3639312" cy="0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CCB09F9-D702-407F-827A-3050610C53FA}"/>
              </a:ext>
            </a:extLst>
          </p:cNvPr>
          <p:cNvSpPr txBox="1"/>
          <p:nvPr/>
        </p:nvSpPr>
        <p:spPr>
          <a:xfrm>
            <a:off x="4322570" y="1706699"/>
            <a:ext cx="188833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Asserted relationship (“owner of”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30489F-C45C-4BCA-870C-F6F8B70FE014}"/>
              </a:ext>
            </a:extLst>
          </p:cNvPr>
          <p:cNvSpPr txBox="1"/>
          <p:nvPr/>
        </p:nvSpPr>
        <p:spPr>
          <a:xfrm>
            <a:off x="6920121" y="2368296"/>
            <a:ext cx="1375378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100" b="1" dirty="0"/>
              <a:t>Identifiable artefact </a:t>
            </a:r>
          </a:p>
          <a:p>
            <a:pPr algn="ctr"/>
            <a:r>
              <a:rPr lang="en-GB" sz="1100" dirty="0"/>
              <a:t>(e.g. Land Register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FE3899-DE0B-4765-9A3F-67D1A3A7A374}"/>
              </a:ext>
            </a:extLst>
          </p:cNvPr>
          <p:cNvSpPr txBox="1"/>
          <p:nvPr/>
        </p:nvSpPr>
        <p:spPr>
          <a:xfrm>
            <a:off x="2425019" y="3429000"/>
            <a:ext cx="34111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Declares external artefact and asserts relationshi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8215E0-67A4-4D66-998E-7ACBC70E087F}"/>
              </a:ext>
            </a:extLst>
          </p:cNvPr>
          <p:cNvSpPr txBox="1"/>
          <p:nvPr/>
        </p:nvSpPr>
        <p:spPr>
          <a:xfrm>
            <a:off x="3939875" y="4762238"/>
            <a:ext cx="3189976" cy="36933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Attests to asserted relationship and (optionally)</a:t>
            </a:r>
          </a:p>
          <a:p>
            <a:r>
              <a:rPr lang="en-GB" sz="1200" dirty="0"/>
              <a:t>details investigative process us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1489DD-0A56-477C-926A-FB42E3CCAD0D}"/>
              </a:ext>
            </a:extLst>
          </p:cNvPr>
          <p:cNvSpPr/>
          <p:nvPr/>
        </p:nvSpPr>
        <p:spPr>
          <a:xfrm>
            <a:off x="777240" y="1143000"/>
            <a:ext cx="8165592" cy="1874520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20BB8B-5B46-4214-80D3-1E21FFBC78EE}"/>
              </a:ext>
            </a:extLst>
          </p:cNvPr>
          <p:cNvSpPr/>
          <p:nvPr/>
        </p:nvSpPr>
        <p:spPr>
          <a:xfrm>
            <a:off x="7031736" y="5113282"/>
            <a:ext cx="201168" cy="10794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7E326F1-0FFC-48A6-8540-B351E5BB984E}"/>
              </a:ext>
            </a:extLst>
          </p:cNvPr>
          <p:cNvCxnSpPr/>
          <p:nvPr/>
        </p:nvCxnSpPr>
        <p:spPr>
          <a:xfrm flipH="1">
            <a:off x="3456432" y="5166360"/>
            <a:ext cx="180000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2234F95E-D656-4561-BBA9-83BA5CE8F847}"/>
              </a:ext>
            </a:extLst>
          </p:cNvPr>
          <p:cNvSpPr txBox="1"/>
          <p:nvPr/>
        </p:nvSpPr>
        <p:spPr>
          <a:xfrm>
            <a:off x="850084" y="2506456"/>
            <a:ext cx="2813780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dirty="0"/>
              <a:t>(An individual storing assertions over their relationship with an externally identifiable artefact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64AB03-3C09-4B78-AAE6-9D0D5A2D7171}"/>
              </a:ext>
            </a:extLst>
          </p:cNvPr>
          <p:cNvSpPr txBox="1"/>
          <p:nvPr/>
        </p:nvSpPr>
        <p:spPr>
          <a:xfrm>
            <a:off x="6200918" y="5842225"/>
            <a:ext cx="2813780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dirty="0"/>
              <a:t>(A bank attesting to an asserted relationship based on an investigative process that may be opaque to the ecosystem)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22B4A89-5E79-4D54-8F95-5C8DAA00B2FA}"/>
              </a:ext>
            </a:extLst>
          </p:cNvPr>
          <p:cNvCxnSpPr>
            <a:cxnSpLocks/>
          </p:cNvCxnSpPr>
          <p:nvPr/>
        </p:nvCxnSpPr>
        <p:spPr>
          <a:xfrm flipV="1">
            <a:off x="7598664" y="3127248"/>
            <a:ext cx="0" cy="1443228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0AAF42E-CFD0-4120-9003-6A6EBA0B21A2}"/>
              </a:ext>
            </a:extLst>
          </p:cNvPr>
          <p:cNvSpPr txBox="1"/>
          <p:nvPr/>
        </p:nvSpPr>
        <p:spPr>
          <a:xfrm>
            <a:off x="7762101" y="3392799"/>
            <a:ext cx="1121660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(Opaque) investigative process of asserted relationship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6939334-F18C-4888-9FAE-B1CA03B5E4EE}"/>
              </a:ext>
            </a:extLst>
          </p:cNvPr>
          <p:cNvSpPr txBox="1"/>
          <p:nvPr/>
        </p:nvSpPr>
        <p:spPr>
          <a:xfrm>
            <a:off x="1286835" y="4805505"/>
            <a:ext cx="2066544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/>
              <a:t>Allows users to declare the existence of an externally identifiable entity / artefact and assert a relationship</a:t>
            </a:r>
          </a:p>
        </p:txBody>
      </p:sp>
    </p:spTree>
    <p:extLst>
      <p:ext uri="{BB962C8B-B14F-4D97-AF65-F5344CB8AC3E}">
        <p14:creationId xmlns:p14="http://schemas.microsoft.com/office/powerpoint/2010/main" val="2650547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A5C8DA-4544-4109-A7FB-CBB34DDD9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290572"/>
            <a:ext cx="2084832" cy="2276856"/>
          </a:xfrm>
        </p:spPr>
        <p:txBody>
          <a:bodyPr/>
          <a:lstStyle/>
          <a:p>
            <a:r>
              <a:rPr lang="en-GB" sz="2400" dirty="0"/>
              <a:t>Illustrative Ecosystem Level [n]</a:t>
            </a:r>
            <a:br>
              <a:rPr lang="en-GB" sz="2400" dirty="0"/>
            </a:b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stem Context Diagram</a:t>
            </a:r>
            <a:endParaRPr lang="en-GB" sz="2400" dirty="0"/>
          </a:p>
        </p:txBody>
      </p:sp>
      <p:pic>
        <p:nvPicPr>
          <p:cNvPr id="4" name="Picture 3" descr="A close up of a map&#10;&#10;Description automatically generated">
            <a:extLst>
              <a:ext uri="{FF2B5EF4-FFF2-40B4-BE49-F238E27FC236}">
                <a16:creationId xmlns:a16="http://schemas.microsoft.com/office/drawing/2014/main" id="{FD9DD66E-F641-48DC-8399-34F6C5DCC14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3"/>
          <a:stretch/>
        </p:blipFill>
        <p:spPr>
          <a:xfrm>
            <a:off x="2748807" y="237744"/>
            <a:ext cx="6572466" cy="638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031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F09528-6091-42B8-9397-185D088C8B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Introductions		 			13.00 – 13.15</a:t>
            </a:r>
          </a:p>
          <a:p>
            <a:pPr marL="0" indent="0">
              <a:buNone/>
            </a:pPr>
            <a:endParaRPr lang="en-GB" sz="1800" dirty="0"/>
          </a:p>
          <a:p>
            <a:r>
              <a:rPr lang="en-GB" sz="1800" dirty="0"/>
              <a:t>Background – why are we here?			13.15 – 13.30</a:t>
            </a:r>
          </a:p>
          <a:p>
            <a:endParaRPr lang="en-GB" sz="1800" dirty="0"/>
          </a:p>
          <a:p>
            <a:r>
              <a:rPr lang="en-GB" sz="1800" dirty="0"/>
              <a:t>Standards – what do we mean by an “Event”?	13.30 – 14.00</a:t>
            </a:r>
          </a:p>
          <a:p>
            <a:endParaRPr lang="en-GB" sz="1800" dirty="0"/>
          </a:p>
          <a:p>
            <a:r>
              <a:rPr lang="en-GB" sz="1800" dirty="0"/>
              <a:t>Ontology – what does an OEF ecosystem “do”?	14.00 – 15.15</a:t>
            </a:r>
          </a:p>
          <a:p>
            <a:endParaRPr lang="en-GB" sz="1800" dirty="0"/>
          </a:p>
          <a:p>
            <a:r>
              <a:rPr lang="en-GB" sz="1800" dirty="0"/>
              <a:t>Target use case – importing wine into the UK	15.15 – 15.45</a:t>
            </a:r>
          </a:p>
          <a:p>
            <a:endParaRPr lang="en-GB" sz="1800" dirty="0"/>
          </a:p>
          <a:p>
            <a:r>
              <a:rPr lang="en-GB" sz="1800" dirty="0"/>
              <a:t>Questions / any other business			15.45 – 16.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B2B846-8BEE-49FE-9848-2D945D5BD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4752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6D0EE73-5DD7-4AB5-A6BA-8AC5006ADD9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b="1" dirty="0"/>
              <a:t>Entry Point Service</a:t>
            </a:r>
            <a:r>
              <a:rPr lang="en-GB" sz="1600" dirty="0"/>
              <a:t>: at least one addressable API that provides access to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Refinery Service</a:t>
            </a:r>
            <a:r>
              <a:rPr lang="en-GB" sz="1600" dirty="0"/>
              <a:t>: to transform ‘raw’ data from external systems into OEF events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Event Pipeline</a:t>
            </a:r>
            <a:r>
              <a:rPr lang="en-GB" sz="1600" dirty="0"/>
              <a:t>: an external system generating data to be refined as events in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Event Store</a:t>
            </a:r>
            <a:r>
              <a:rPr lang="en-GB" sz="1600" dirty="0"/>
              <a:t>: a store for the refined events posted into the ecosystem by a participant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Registry Service</a:t>
            </a:r>
            <a:r>
              <a:rPr lang="en-GB" sz="1600" dirty="0"/>
              <a:t>: a record of ecosystem participants and their authorised scope of action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Directory Service</a:t>
            </a:r>
            <a:r>
              <a:rPr lang="en-GB" sz="1600" dirty="0"/>
              <a:t>: to facilitate discovery and matching between ecosystem participants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Exchange Service</a:t>
            </a:r>
            <a:r>
              <a:rPr lang="en-GB" sz="1600" dirty="0"/>
              <a:t>: to support information flow and value exchange between participants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Administration Service</a:t>
            </a:r>
            <a:r>
              <a:rPr lang="en-GB" sz="1600" dirty="0"/>
              <a:t>: to maintain shard artefacts critical to the operation of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Ontologies</a:t>
            </a:r>
            <a:r>
              <a:rPr lang="en-GB" sz="1600" dirty="0"/>
              <a:t>: conceptual models of the domain of interest shared by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Reasoning Engines</a:t>
            </a:r>
            <a:r>
              <a:rPr lang="en-GB" sz="1600" dirty="0"/>
              <a:t>: to derive insight and extract value from events in the ecosyst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ADDC47-C751-40D6-B402-114BEEF3F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Responsibilities that MUST be represented in OEF ecosystems</a:t>
            </a:r>
          </a:p>
        </p:txBody>
      </p:sp>
    </p:spTree>
    <p:extLst>
      <p:ext uri="{BB962C8B-B14F-4D97-AF65-F5344CB8AC3E}">
        <p14:creationId xmlns:p14="http://schemas.microsoft.com/office/powerpoint/2010/main" val="41444538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1007181"/>
          </a:xfrm>
        </p:spPr>
        <p:txBody>
          <a:bodyPr/>
          <a:lstStyle/>
          <a:p>
            <a:r>
              <a:rPr lang="en-GB" dirty="0"/>
              <a:t>Target Use Case</a:t>
            </a:r>
          </a:p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orting wine into the U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4</a:t>
            </a:r>
          </a:p>
        </p:txBody>
      </p:sp>
    </p:spTree>
    <p:extLst>
      <p:ext uri="{BB962C8B-B14F-4D97-AF65-F5344CB8AC3E}">
        <p14:creationId xmlns:p14="http://schemas.microsoft.com/office/powerpoint/2010/main" val="26535091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44FF76E-AB33-4297-A829-5FCE683A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omain knowledge – configuration of a shi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D14C29-BC9B-4AF1-AC40-93AFEBADE8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340" y="1143000"/>
            <a:ext cx="8174519" cy="526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847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606841-F07B-410F-8EDC-2B50C04D071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sz="1600" dirty="0"/>
              <a:t>What has happened to this thing / person? </a:t>
            </a:r>
          </a:p>
          <a:p>
            <a:pPr lvl="1"/>
            <a:endParaRPr lang="en-GB" dirty="0"/>
          </a:p>
          <a:p>
            <a:r>
              <a:rPr lang="en-GB" sz="1600" dirty="0"/>
              <a:t>Is this thing / person the subject of this information set? </a:t>
            </a:r>
          </a:p>
          <a:p>
            <a:pPr lvl="1"/>
            <a:endParaRPr lang="en-GB" dirty="0"/>
          </a:p>
          <a:p>
            <a:r>
              <a:rPr lang="en-GB" sz="1600" dirty="0"/>
              <a:t>Does this information set represent this thing / person? </a:t>
            </a:r>
          </a:p>
          <a:p>
            <a:pPr lvl="1"/>
            <a:endParaRPr lang="en-GB" dirty="0"/>
          </a:p>
          <a:p>
            <a:r>
              <a:rPr lang="en-GB" sz="1600" dirty="0"/>
              <a:t>What is the source of this information set? </a:t>
            </a:r>
          </a:p>
          <a:p>
            <a:pPr lvl="1"/>
            <a:endParaRPr lang="en-GB" sz="1600" dirty="0"/>
          </a:p>
          <a:p>
            <a:r>
              <a:rPr lang="en-GB" sz="1600" dirty="0"/>
              <a:t>What is the relationship between this thing and that thing?</a:t>
            </a:r>
          </a:p>
          <a:p>
            <a:pPr lvl="1"/>
            <a:endParaRPr lang="en-GB" dirty="0"/>
          </a:p>
          <a:p>
            <a:r>
              <a:rPr lang="en-GB" sz="1600" dirty="0"/>
              <a:t>Is this the same thing as that thing? </a:t>
            </a:r>
          </a:p>
          <a:p>
            <a:pPr lvl="1"/>
            <a:endParaRPr lang="en-GB" dirty="0"/>
          </a:p>
          <a:p>
            <a:r>
              <a:rPr lang="en-GB" sz="1600" dirty="0"/>
              <a:t>What is the status of this thing? </a:t>
            </a:r>
          </a:p>
          <a:p>
            <a:pPr lvl="1"/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524925-7AC8-44D3-A00A-34A758379C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Generalised even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05F597-89EE-40C0-A44C-1C49CC1954F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Does the consignment originate from the country which it states it does?</a:t>
            </a:r>
          </a:p>
          <a:p>
            <a:r>
              <a:rPr lang="en-GB" sz="1600" dirty="0"/>
              <a:t>Does the consignment contain what is stated on the manifest?</a:t>
            </a:r>
          </a:p>
          <a:p>
            <a:r>
              <a:rPr lang="en-GB" sz="1600" dirty="0"/>
              <a:t>Does the freight forwarder/trader/importer/carrier have a history of (not) being stopped?</a:t>
            </a:r>
          </a:p>
          <a:p>
            <a:r>
              <a:rPr lang="en-GB" sz="1600" dirty="0"/>
              <a:t>Does this freight forwarder / trader / importer / carrier have a history of imports which were "good“?</a:t>
            </a:r>
          </a:p>
          <a:p>
            <a:r>
              <a:rPr lang="en-GB" sz="1600" dirty="0"/>
              <a:t>Has this freight forwarder / trader / importer / carrier been seen before?</a:t>
            </a:r>
          </a:p>
          <a:p>
            <a:r>
              <a:rPr lang="en-GB" sz="1600" dirty="0"/>
              <a:t>Is this freight forwarder / trader / importer / carrier behaving in a way which is unusual?</a:t>
            </a:r>
          </a:p>
          <a:p>
            <a:r>
              <a:rPr lang="en-GB" sz="1600" dirty="0"/>
              <a:t>How is this freight forwarder / trader / importer / carrier linked to other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1070E5-19FA-4E81-B27C-3AFA97B8D6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Use case specific ev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79CBFD-F8F5-4689-9382-6A0A4DB79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omain knowledge – Event types</a:t>
            </a:r>
          </a:p>
        </p:txBody>
      </p:sp>
    </p:spTree>
    <p:extLst>
      <p:ext uri="{BB962C8B-B14F-4D97-AF65-F5344CB8AC3E}">
        <p14:creationId xmlns:p14="http://schemas.microsoft.com/office/powerpoint/2010/main" val="7416302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Q&amp;A / AO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5</a:t>
            </a:r>
          </a:p>
        </p:txBody>
      </p:sp>
    </p:spTree>
    <p:extLst>
      <p:ext uri="{BB962C8B-B14F-4D97-AF65-F5344CB8AC3E}">
        <p14:creationId xmlns:p14="http://schemas.microsoft.com/office/powerpoint/2010/main" val="1008049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9303BD-B877-431E-9F23-8C2ABD06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schedu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CB3DA6C-DF9C-4C75-9F4F-1FCE59AD30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1354617"/>
              </p:ext>
            </p:extLst>
          </p:nvPr>
        </p:nvGraphicFramePr>
        <p:xfrm>
          <a:off x="457200" y="923545"/>
          <a:ext cx="8686800" cy="5652979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374904">
                  <a:extLst>
                    <a:ext uri="{9D8B030D-6E8A-4147-A177-3AD203B41FA5}">
                      <a16:colId xmlns:a16="http://schemas.microsoft.com/office/drawing/2014/main" val="1916012163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824415841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4141798486"/>
                    </a:ext>
                  </a:extLst>
                </a:gridCol>
                <a:gridCol w="4251960">
                  <a:extLst>
                    <a:ext uri="{9D8B030D-6E8A-4147-A177-3AD203B41FA5}">
                      <a16:colId xmlns:a16="http://schemas.microsoft.com/office/drawing/2014/main" val="2706454597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287056515"/>
                    </a:ext>
                  </a:extLst>
                </a:gridCol>
              </a:tblGrid>
              <a:tr h="10040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W/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Deliverabl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genda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ttendee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684632117"/>
                  </a:ext>
                </a:extLst>
              </a:tr>
              <a:tr h="55268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K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9/01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Common understandin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Ques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roblem statem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Expressions of interes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5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FB Technical Architect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Technical Architect 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285091157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1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5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Standard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tandards to implement and communicate shared knowledge base used in event-based data assur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99816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2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Reasoning models for data assur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lassification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Event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Chains / sequences / method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Actors (e.g. source of event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Relationships (e.g. linking ID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Supporting metadata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spcBef>
                          <a:spcPts val="720"/>
                        </a:spcBef>
                        <a:spcAft>
                          <a:spcPts val="72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hema / header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Mandatory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21226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3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9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090722"/>
                  </a:ext>
                </a:extLst>
              </a:tr>
              <a:tr h="158624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4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6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-5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78652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5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b="1" dirty="0">
                          <a:effectLst/>
                        </a:rPr>
                        <a:t>04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b="1" dirty="0">
                          <a:effectLst/>
                        </a:rPr>
                        <a:t>1-4pm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b="1" dirty="0">
                          <a:effectLst/>
                        </a:rPr>
                        <a:t>Expert input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b="1" dirty="0">
                          <a:effectLst/>
                        </a:rPr>
                        <a:t>Expert assessment of proposed standards and metadata model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b="1" dirty="0">
                          <a:effectLst/>
                        </a:rPr>
                        <a:t>Representatives of </a:t>
                      </a:r>
                      <a:r>
                        <a:rPr lang="en-GB" sz="1100" b="1" dirty="0" err="1">
                          <a:effectLst/>
                        </a:rPr>
                        <a:t>Inrupt</a:t>
                      </a:r>
                      <a:r>
                        <a:rPr lang="en-GB" sz="1100" b="1" dirty="0">
                          <a:effectLst/>
                        </a:rPr>
                        <a:t>, Oxford Semantic Tech</a:t>
                      </a:r>
                    </a:p>
                  </a:txBody>
                  <a:tcPr marL="37747" marR="37747" marT="0" marB="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41930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1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Rules of engagemen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Boundary of open alli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alable / mutual contractual agreements for value exchang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Value exchange mechanism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ublication of / subscription to ev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effectLst/>
                        </a:rPr>
                        <a:t>Permissioning</a:t>
                      </a:r>
                      <a:r>
                        <a:rPr lang="en-GB" sz="1100" dirty="0">
                          <a:effectLst/>
                        </a:rPr>
                        <a:t> (including consent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Use of standards and metadata model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Govern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Stakeholders x2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GDS representative(s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30740859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8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47486"/>
                  </a:ext>
                </a:extLst>
              </a:tr>
              <a:tr h="87597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5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9am-1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26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9833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1889323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BF597E-9856-42EF-804A-E8B3E963D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e ran an OIX Discovery Project over the summer of 2019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401D2BD-5AAF-4373-883A-F2331699E7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779" y="1143000"/>
            <a:ext cx="3209544" cy="4353930"/>
          </a:xfrm>
          <a:prstGeom prst="rect">
            <a:avLst/>
          </a:prstGeom>
        </p:spPr>
      </p:pic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1A6A7256-1D85-4B4D-814F-90EBFA0D1648}"/>
              </a:ext>
            </a:extLst>
          </p:cNvPr>
          <p:cNvSpPr txBox="1">
            <a:spLocks/>
          </p:cNvSpPr>
          <p:nvPr/>
        </p:nvSpPr>
        <p:spPr>
          <a:xfrm>
            <a:off x="5544878" y="1270572"/>
            <a:ext cx="3599121" cy="4928616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GB" b="1" dirty="0"/>
              <a:t>Project participants</a:t>
            </a:r>
          </a:p>
          <a:p>
            <a:pPr>
              <a:spcAft>
                <a:spcPts val="600"/>
              </a:spcAft>
            </a:pPr>
            <a:r>
              <a:rPr lang="en-GB" dirty="0"/>
              <a:t>DWP</a:t>
            </a:r>
          </a:p>
          <a:p>
            <a:pPr>
              <a:spcAft>
                <a:spcPts val="600"/>
              </a:spcAft>
            </a:pPr>
            <a:r>
              <a:rPr lang="en-GB" dirty="0" err="1"/>
              <a:t>Factern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/>
              <a:t>HMRC</a:t>
            </a:r>
          </a:p>
          <a:p>
            <a:pPr>
              <a:spcAft>
                <a:spcPts val="600"/>
              </a:spcAft>
            </a:pPr>
            <a:r>
              <a:rPr lang="en-GB" dirty="0" err="1"/>
              <a:t>Idemia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 err="1"/>
              <a:t>Inidsol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 err="1"/>
              <a:t>Mydex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/>
              <a:t>Santander</a:t>
            </a:r>
          </a:p>
          <a:p>
            <a:pPr>
              <a:spcAft>
                <a:spcPts val="600"/>
              </a:spcAft>
            </a:pPr>
            <a:r>
              <a:rPr lang="en-GB" dirty="0" err="1"/>
              <a:t>tScheme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en-GB" dirty="0" err="1"/>
              <a:t>Zonafide</a:t>
            </a:r>
            <a:endParaRPr lang="en-GB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026EC299-FDE0-4D02-9690-E2162A649C43}"/>
              </a:ext>
            </a:extLst>
          </p:cNvPr>
          <p:cNvSpPr txBox="1">
            <a:spLocks/>
          </p:cNvSpPr>
          <p:nvPr/>
        </p:nvSpPr>
        <p:spPr>
          <a:xfrm>
            <a:off x="457199" y="5838444"/>
            <a:ext cx="8686800" cy="7589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2000" kern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>
                <a:hlinkClick r:id="rId3"/>
              </a:rPr>
              <a:t>https://openidentityexchange.org/blog/2019/11/14/building-a-trusted-environment-event-based-attribute-assurance/</a:t>
            </a:r>
            <a:r>
              <a:rPr lang="en-GB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5973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EFE651F-8793-4D88-A291-53BB209F24E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Events can be used as inputs into models that use different forms of reasoning to validate and verify claims, providing a powerful and agile defence against fraud</a:t>
            </a:r>
          </a:p>
          <a:p>
            <a:endParaRPr lang="en-GB" sz="1800" dirty="0"/>
          </a:p>
          <a:p>
            <a:r>
              <a:rPr lang="en-GB" sz="1800" dirty="0"/>
              <a:t>Relative to alternatives, Events are cheap to produce, publish, exchange and consume, and directly address the costs of duplicated effort </a:t>
            </a:r>
          </a:p>
          <a:p>
            <a:endParaRPr lang="en-GB" sz="1800" dirty="0"/>
          </a:p>
          <a:p>
            <a:r>
              <a:rPr lang="en-GB" sz="1800" dirty="0"/>
              <a:t>Events capture a record of expertise and effort which can be aggregated to form competing quality standards, enabling overlaps to be identified and re-used</a:t>
            </a:r>
          </a:p>
          <a:p>
            <a:endParaRPr lang="en-GB" sz="1800" dirty="0"/>
          </a:p>
          <a:p>
            <a:r>
              <a:rPr lang="en-GB" sz="1800" dirty="0"/>
              <a:t>An Event-based approach federates trust to any number of Event “pipelines”, diversifying away from a reliance on a small number of sources </a:t>
            </a:r>
          </a:p>
          <a:p>
            <a:endParaRPr lang="en-GB" sz="1800" dirty="0"/>
          </a:p>
          <a:p>
            <a:r>
              <a:rPr lang="en-GB" sz="1800" dirty="0"/>
              <a:t>Events offer a mechanism for ‘thin file’ citizens or customers to provide third party evidence to support their claims, even in the absence of traditional forms of proof</a:t>
            </a:r>
          </a:p>
          <a:p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6ACB0A-C242-4689-A97C-D1A2F754A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Hypothesis:</a:t>
            </a:r>
            <a:br>
              <a:rPr lang="en-GB" sz="2400" dirty="0"/>
            </a:br>
            <a:r>
              <a:rPr lang="en-GB" sz="2400" dirty="0"/>
              <a:t>Events can be harnessed to improve data assurance outcomes</a:t>
            </a:r>
          </a:p>
        </p:txBody>
      </p:sp>
    </p:spTree>
    <p:extLst>
      <p:ext uri="{BB962C8B-B14F-4D97-AF65-F5344CB8AC3E}">
        <p14:creationId xmlns:p14="http://schemas.microsoft.com/office/powerpoint/2010/main" val="2580475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03C71C-AE06-4C03-BAE7-1730237500A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800" b="1" dirty="0"/>
              <a:t>Default standards</a:t>
            </a:r>
          </a:p>
          <a:p>
            <a:pPr lvl="1"/>
            <a:r>
              <a:rPr lang="en-GB" sz="1800" dirty="0"/>
              <a:t>Implement a shared knowledge base to describe Events and associated metadata</a:t>
            </a:r>
          </a:p>
          <a:p>
            <a:pPr lvl="1"/>
            <a:r>
              <a:rPr lang="en-GB" sz="1800" dirty="0"/>
              <a:t>Lower barrier to entry for participation in an ecosystem for the exchange of Events </a:t>
            </a:r>
          </a:p>
          <a:p>
            <a:pPr lvl="1"/>
            <a:r>
              <a:rPr lang="en-GB" sz="1800" dirty="0"/>
              <a:t>Enable interoperability across different technical implementations adopted</a:t>
            </a:r>
          </a:p>
          <a:p>
            <a:endParaRPr lang="en-GB" sz="1800" dirty="0"/>
          </a:p>
          <a:p>
            <a:pPr marL="342900" indent="-342900">
              <a:buFont typeface="+mj-lt"/>
              <a:buAutoNum type="arabicPeriod" startAt="2"/>
            </a:pPr>
            <a:r>
              <a:rPr lang="en-GB" sz="1800" b="1" dirty="0"/>
              <a:t>Initial ontology</a:t>
            </a:r>
          </a:p>
          <a:p>
            <a:pPr lvl="1"/>
            <a:r>
              <a:rPr lang="en-GB" sz="1800" dirty="0"/>
              <a:t>Express occurrences that constitute ‘due diligence’ within the target use case</a:t>
            </a:r>
          </a:p>
          <a:p>
            <a:pPr lvl="1"/>
            <a:r>
              <a:rPr lang="en-GB" sz="1800" dirty="0"/>
              <a:t>Generate a metadata model that establishes a common machine-readable understanding, as the basis for producing, exchanging or consuming Events</a:t>
            </a:r>
          </a:p>
          <a:p>
            <a:endParaRPr lang="en-GB" sz="1800" dirty="0"/>
          </a:p>
          <a:p>
            <a:pPr marL="342900" indent="-342900">
              <a:buFont typeface="+mj-lt"/>
              <a:buAutoNum type="arabicPeriod" startAt="3"/>
            </a:pPr>
            <a:r>
              <a:rPr lang="en-GB" sz="1800" b="1" dirty="0"/>
              <a:t>Rules of engagement</a:t>
            </a:r>
          </a:p>
          <a:p>
            <a:pPr lvl="1"/>
            <a:r>
              <a:rPr lang="en-GB" sz="1800" dirty="0"/>
              <a:t>Govern behaviour within the ecosystem </a:t>
            </a:r>
          </a:p>
          <a:p>
            <a:pPr lvl="1"/>
            <a:r>
              <a:rPr lang="en-GB" sz="1800" dirty="0"/>
              <a:t>Avoid any unnecessary barriers to entry into the ecosystem</a:t>
            </a:r>
          </a:p>
          <a:p>
            <a:pPr lvl="1"/>
            <a:r>
              <a:rPr lang="en-GB" sz="1800" dirty="0"/>
              <a:t>Explore ways of simplifying the exchange of value associated with the exchange of information/expertise, enabling a scalable contractual framewor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5067B-5AA7-4612-ABDE-620E2AD83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e objective of the Alpha Project is to develop an initial set of requirements to support the exchange of Event data</a:t>
            </a:r>
          </a:p>
        </p:txBody>
      </p:sp>
    </p:spTree>
    <p:extLst>
      <p:ext uri="{BB962C8B-B14F-4D97-AF65-F5344CB8AC3E}">
        <p14:creationId xmlns:p14="http://schemas.microsoft.com/office/powerpoint/2010/main" val="2831300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1007181"/>
          </a:xfrm>
        </p:spPr>
        <p:txBody>
          <a:bodyPr/>
          <a:lstStyle/>
          <a:p>
            <a:r>
              <a:rPr lang="en-GB" dirty="0"/>
              <a:t>Default standards</a:t>
            </a:r>
          </a:p>
          <a:p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hat do we mean by an “Event”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3664543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2BE852-EE22-435C-81C2-A765B5A2FD9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/>
          <a:lstStyle/>
          <a:p>
            <a:r>
              <a:rPr lang="en-GB" sz="1800" dirty="0"/>
              <a:t>We define an “Event” as a trustable record of any attribute, relationship or activity that is made available as a digital resource for re-use by authorised third parties.</a:t>
            </a:r>
          </a:p>
          <a:p>
            <a:pPr lvl="1"/>
            <a:endParaRPr lang="en-GB" sz="1800" dirty="0"/>
          </a:p>
          <a:p>
            <a:r>
              <a:rPr lang="en-GB" sz="1800" dirty="0"/>
              <a:t>Trust</a:t>
            </a:r>
            <a:r>
              <a:rPr lang="en-GB" sz="1800" b="1" u="sng" dirty="0"/>
              <a:t>able</a:t>
            </a:r>
            <a:r>
              <a:rPr lang="en-GB" sz="1800" dirty="0"/>
              <a:t>: </a:t>
            </a:r>
          </a:p>
          <a:p>
            <a:pPr lvl="1"/>
            <a:r>
              <a:rPr lang="en-GB" sz="1800" dirty="0"/>
              <a:t>An Event is a signed witness statement of the form: “X says that Y is true at instant Z”</a:t>
            </a:r>
            <a:r>
              <a:rPr lang="en-GB" sz="1800" baseline="30000" dirty="0"/>
              <a:t> 1</a:t>
            </a:r>
            <a:endParaRPr lang="en-GB" sz="1800" dirty="0"/>
          </a:p>
          <a:p>
            <a:pPr lvl="1"/>
            <a:endParaRPr lang="en-GB" sz="1800" dirty="0"/>
          </a:p>
          <a:p>
            <a:r>
              <a:rPr lang="en-GB" sz="1800" dirty="0"/>
              <a:t>Understand</a:t>
            </a:r>
            <a:r>
              <a:rPr lang="en-GB" sz="1800" b="1" u="sng" dirty="0"/>
              <a:t>able</a:t>
            </a:r>
            <a:r>
              <a:rPr lang="en-GB" sz="1800" dirty="0"/>
              <a:t>:</a:t>
            </a:r>
          </a:p>
          <a:p>
            <a:pPr lvl="1"/>
            <a:r>
              <a:rPr lang="en-GB" sz="1800" dirty="0"/>
              <a:t>Events reference attributes, relationships or activities whose meaning has been defined – and can be shared – in a standard, relatable, machine-readable way </a:t>
            </a:r>
            <a:r>
              <a:rPr lang="en-GB" sz="1800" baseline="30000" dirty="0"/>
              <a:t>2</a:t>
            </a:r>
          </a:p>
          <a:p>
            <a:pPr lvl="1"/>
            <a:endParaRPr lang="en-GB" sz="1800" dirty="0"/>
          </a:p>
          <a:p>
            <a:r>
              <a:rPr lang="en-GB" sz="1800" dirty="0"/>
              <a:t>Access</a:t>
            </a:r>
            <a:r>
              <a:rPr lang="en-GB" sz="1800" b="1" u="sng" dirty="0"/>
              <a:t>ible</a:t>
            </a:r>
            <a:r>
              <a:rPr lang="en-GB" sz="1800" dirty="0"/>
              <a:t>:</a:t>
            </a:r>
          </a:p>
          <a:p>
            <a:pPr lvl="1"/>
            <a:r>
              <a:rPr lang="en-GB" sz="1800" dirty="0"/>
              <a:t>An Event can be consumed directly (at scale) by automated reasoning engines</a:t>
            </a:r>
          </a:p>
          <a:p>
            <a:pPr lvl="1"/>
            <a:r>
              <a:rPr lang="en-GB" sz="1800" dirty="0"/>
              <a:t>An Event is explicitly made available for re-use by authorised third parties</a:t>
            </a:r>
          </a:p>
          <a:p>
            <a:pPr lvl="1"/>
            <a:r>
              <a:rPr lang="en-GB" sz="1800" dirty="0"/>
              <a:t>Access to an Event is governed separately to access to the data (i.e. attributes, relationships or activities) that the Event referen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FA97B1-C70D-425E-B1CC-010457E87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do we want from an “Event”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ED7FBD-6EE4-4853-A226-91D19B1A1377}"/>
              </a:ext>
            </a:extLst>
          </p:cNvPr>
          <p:cNvSpPr txBox="1"/>
          <p:nvPr/>
        </p:nvSpPr>
        <p:spPr>
          <a:xfrm>
            <a:off x="457200" y="6397008"/>
            <a:ext cx="61378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1. This is similar in form to a Verifiable Credential	2. Leveraging tools from the Semantic Web</a:t>
            </a:r>
          </a:p>
        </p:txBody>
      </p:sp>
    </p:spTree>
    <p:extLst>
      <p:ext uri="{BB962C8B-B14F-4D97-AF65-F5344CB8AC3E}">
        <p14:creationId xmlns:p14="http://schemas.microsoft.com/office/powerpoint/2010/main" val="2882262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tern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2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3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4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5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6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Props1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862</TotalTime>
  <Words>1746</Words>
  <Application>Microsoft Office PowerPoint</Application>
  <PresentationFormat>Custom</PresentationFormat>
  <Paragraphs>252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Calibri</vt:lpstr>
      <vt:lpstr>Ebrima</vt:lpstr>
      <vt:lpstr>Symbol</vt:lpstr>
      <vt:lpstr>Wingdings</vt:lpstr>
      <vt:lpstr>Factern</vt:lpstr>
      <vt:lpstr>think-cell Slide</vt:lpstr>
      <vt:lpstr>PowerPoint Presentation</vt:lpstr>
      <vt:lpstr>Agenda</vt:lpstr>
      <vt:lpstr>Workshop schedule</vt:lpstr>
      <vt:lpstr>PowerPoint Presentation</vt:lpstr>
      <vt:lpstr>We ran an OIX Discovery Project over the summer of 2019</vt:lpstr>
      <vt:lpstr>Hypothesis: Events can be harnessed to improve data assurance outcomes</vt:lpstr>
      <vt:lpstr>The objective of the Alpha Project is to develop an initial set of requirements to support the exchange of Event data</vt:lpstr>
      <vt:lpstr>PowerPoint Presentation</vt:lpstr>
      <vt:lpstr>What do we want from an “Event”?</vt:lpstr>
      <vt:lpstr>How does the OEF specify an “Event”?</vt:lpstr>
      <vt:lpstr>Some open questions (for discussion throughout the session)</vt:lpstr>
      <vt:lpstr>PowerPoint Presentation</vt:lpstr>
      <vt:lpstr>What kind of knowledge do we want to represent? Across the ecosystem</vt:lpstr>
      <vt:lpstr>Illustrative Ecosystem Level 1  System Context Diagram</vt:lpstr>
      <vt:lpstr>Illustrative Ecosystem Level 1 Container Diagram</vt:lpstr>
      <vt:lpstr>Illustrative Ecosystem Level 3 System Context Diagram</vt:lpstr>
      <vt:lpstr>Illustrative Ecosystem Level 3 Container Diagram</vt:lpstr>
      <vt:lpstr>Illustrative Ecosystem Level 4 System Context Diagram</vt:lpstr>
      <vt:lpstr>Illustrative Ecosystem Level [n]  System Context Diagram</vt:lpstr>
      <vt:lpstr>Responsibilities that MUST be represented in OEF ecosystems</vt:lpstr>
      <vt:lpstr>PowerPoint Presentation</vt:lpstr>
      <vt:lpstr>Domain knowledge – configuration of a ship</vt:lpstr>
      <vt:lpstr>Domain knowledge – Event types</vt:lpstr>
      <vt:lpstr>PowerPoint Presentation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ons, Lauren</dc:creator>
  <cp:keywords>Template version: 2015/11/24;Update Pack: 2015/12/01</cp:keywords>
  <cp:lastModifiedBy>Ben Helps</cp:lastModifiedBy>
  <cp:revision>2435</cp:revision>
  <cp:lastPrinted>2018-07-20T08:02:03Z</cp:lastPrinted>
  <dcterms:created xsi:type="dcterms:W3CDTF">2016-04-26T16:21:37Z</dcterms:created>
  <dcterms:modified xsi:type="dcterms:W3CDTF">2020-03-04T12:2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11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</Properties>
</file>